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34"/>
  </p:notesMasterIdLst>
  <p:handoutMasterIdLst>
    <p:handoutMasterId r:id="rId35"/>
  </p:handoutMasterIdLst>
  <p:sldIdLst>
    <p:sldId id="727" r:id="rId16"/>
    <p:sldId id="11481" r:id="rId17"/>
    <p:sldId id="11483" r:id="rId18"/>
    <p:sldId id="11476" r:id="rId19"/>
    <p:sldId id="11478" r:id="rId20"/>
    <p:sldId id="751" r:id="rId21"/>
    <p:sldId id="870" r:id="rId22"/>
    <p:sldId id="868" r:id="rId23"/>
    <p:sldId id="925" r:id="rId24"/>
    <p:sldId id="927" r:id="rId25"/>
    <p:sldId id="888" r:id="rId26"/>
    <p:sldId id="916" r:id="rId27"/>
    <p:sldId id="918" r:id="rId28"/>
    <p:sldId id="899" r:id="rId29"/>
    <p:sldId id="897" r:id="rId30"/>
    <p:sldId id="842" r:id="rId31"/>
    <p:sldId id="856" r:id="rId32"/>
    <p:sldId id="907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C &amp; FDOC Checklist" id="{5C75EF3B-86B8-6647-A64C-81E4B07450B2}">
          <p14:sldIdLst>
            <p14:sldId id="727"/>
          </p14:sldIdLst>
        </p14:section>
        <p14:section name="McGraw Hill GO" id="{EE92AB7D-B1EF-584E-B4DA-7FF529B6406E}">
          <p14:sldIdLst>
            <p14:sldId id="11481"/>
            <p14:sldId id="11483"/>
            <p14:sldId id="11476"/>
            <p14:sldId id="11478"/>
          </p14:sldIdLst>
        </p14:section>
        <p14:section name="GO and Sharpen Companion FDOC" id="{3FF79D4C-1A44-495D-A98F-65822680579F}">
          <p14:sldIdLst>
            <p14:sldId id="751"/>
            <p14:sldId id="870"/>
            <p14:sldId id="868"/>
            <p14:sldId id="925"/>
            <p14:sldId id="927"/>
          </p14:sldIdLst>
        </p14:section>
        <p14:section name="Sharpen Companion: GO IA with an LMS" id="{B65C7815-9E2E-41E1-92DF-5B402E697B61}">
          <p14:sldIdLst>
            <p14:sldId id="888"/>
            <p14:sldId id="916"/>
            <p14:sldId id="918"/>
            <p14:sldId id="899"/>
            <p14:sldId id="897"/>
          </p14:sldIdLst>
        </p14:section>
        <p14:section name="Sharpen Companion: GO Log-In with LMS" id="{E075AC97-203A-436E-8FC3-C8C7FC5C0DB1}">
          <p14:sldIdLst>
            <p14:sldId id="842"/>
            <p14:sldId id="856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31"/>
  </p:normalViewPr>
  <p:slideViewPr>
    <p:cSldViewPr snapToGrid="0">
      <p:cViewPr varScale="1">
        <p:scale>
          <a:sx n="97" d="100"/>
          <a:sy n="97" d="100"/>
        </p:scale>
        <p:origin x="72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tableStyles" Target="tableStyles.xml"/><Relationship Id="rId21" Type="http://schemas.openxmlformats.org/officeDocument/2006/relationships/slide" Target="slides/slide6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viewProps" Target="viewProps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03994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76F7AE-78BA-9DF7-C44F-AFC0E1C588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03E82EF-052F-792F-FF79-97376768C8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5004A6-4BD9-EDB7-A861-3F40DB93BBC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BE5D7E-A6C7-547E-5857-49AF1AF1C43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8081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12CEE5-D59A-A85C-DE38-2DFB58003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97B12C-7AE7-F1DB-71AC-5DF6BC329B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A7715B-FE4D-D364-AE4D-FA14CF4C62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C00F6-30C3-D648-FA64-F0F18F8B25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5603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4996E3-F87B-FB54-02DC-3621EF06F6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97B643-6569-4DCF-76DF-34FAAA412E2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CE01EF-98EF-B685-F012-8F98B6CD27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3B81A7-CDFE-A673-4616-8538FB4D77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0487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030B3F-47A7-A4B4-6798-E8E684C97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F657AB0-15C9-DDE4-4F12-AF105985BE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58968B3-03A6-6124-A598-92F42B8CD84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D08F89-59F5-010C-333E-560B164D584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715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D3C1A-1DE1-2B78-D79A-848EA3C741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36692B-7BDD-673B-7A77-B41BA02A49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64B253-5749-0A65-2323-1A019FD943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D7573C-B31E-1B8D-ECE0-34538C27680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298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3B8A61-C950-702D-B478-2336B4A6A6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7B35B5-5B80-F4A5-E155-CF57EFD8FD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491AF9-727F-5F95-7DEB-A1379723743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8DF2F-3CA3-A3B5-DE38-771332DC99E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56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1FCC78-37E2-F649-6A91-9DFDBA190E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B6F469E-FAF4-34DD-4A94-FA70E1CBC6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1DF8A-C02C-457B-CC18-22158371DE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4EC5F6-F19D-CC72-6B16-A5E9B16121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19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94A3F2E-80DF-86EE-4984-F847BDD56F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88573B-B09E-E67E-19B1-176B59B51A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9F96004-C74D-DF6C-4D02-8919A600543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70D4D9-F234-9AA0-E437-E47CDCBD180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110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746B0C-FA63-953B-2157-9784D38A5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451469-5B93-473F-7F84-72F1F3086E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43E227B-C2EB-8DE1-433B-AECE978FA6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E07499-0D47-B2AB-086C-66EE0F559BE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8018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F651C7-1262-D385-544C-8BEC063A7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39DA3EB-D458-CBAD-518B-34CBD54AECB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A978241-DEFA-7613-AA38-20196D1D2AE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4BE7E0-2AE8-63C3-1829-B49D890FAE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72102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22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246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1661244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30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593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Relationship Id="rId6" Type="http://schemas.microsoft.com/office/2007/relationships/hdphoto" Target="../media/hdphoto1.wdp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4.png"/><Relationship Id="rId7" Type="http://schemas.microsoft.com/office/2007/relationships/hdphoto" Target="../media/hdphoto1.wdp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53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Relationship Id="rId6" Type="http://schemas.microsoft.com/office/2007/relationships/hdphoto" Target="../media/hdphoto1.wdp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5.xml"/><Relationship Id="rId6" Type="http://schemas.microsoft.com/office/2007/relationships/hdphoto" Target="../media/hdphoto1.wdp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/>
          </a:bodyPr>
          <a:lstStyle/>
          <a:p>
            <a:r>
              <a:rPr lang="en-US" sz="2000" dirty="0">
                <a:latin typeface="Arial"/>
                <a:cs typeface="Arial"/>
              </a:rPr>
              <a:t>Slides Available for the First Day of Class: Sharpen Companion, IA, D2L Brightspace</a:t>
            </a:r>
            <a:endParaRPr lang="en-US" sz="2000" b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McGraw Hill First Day of Class 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87EDD6-0CCE-0360-3FC6-8FB4742E8D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2672" y="2951384"/>
            <a:ext cx="6888419" cy="1933605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</a:t>
            </a:r>
            <a:r>
              <a:rPr lang="en-US" sz="1400" dirty="0">
                <a:latin typeface="Arial"/>
                <a:cs typeface="Arial"/>
              </a:rPr>
              <a:t>2 – 5</a:t>
            </a:r>
            <a:endParaRPr lang="en-US" sz="1400" b="1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GO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and Sharpen Companion FDOC Slides 6-10</a:t>
            </a:r>
            <a:endParaRPr lang="en-US" sz="1400" dirty="0"/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Purchase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IA: GO with an LMS: D2L Brightspace Slides 11-15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GO Log-In Flow – Slides 16-18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907213-A707-EC3D-86F8-53F5E0D8C4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276E3F-33FB-BE4F-F713-E9A4C880F5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4B94B5E8-2BCF-1828-DB35-942AD1F907C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906D3EC-08BC-DD17-EAD4-7FD955FEB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BCD10E74-E6CC-69D3-273E-3F8B20555A35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E6D44E2D-3B65-CCC9-347C-711DC31201D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F1A3E2B8-A8B1-7C32-EA1C-7A2D9E7CFB4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7667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0B01D-8DBC-9F1E-3B97-FF92CFAB08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303870-FCA4-E12F-52B4-845ED0C926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929F3FF-7CC1-D15F-4DB3-B64545C14EDA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8651" y="2662133"/>
            <a:ext cx="3661086" cy="142057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Getting Started with McGraw Hill GO</a:t>
            </a:r>
            <a:r>
              <a:rPr kumimoji="0" lang="en-US" sz="2400" b="1" i="0" u="none" strike="noStrike" kern="1200" cap="none" spc="0" normalizeH="0" baseline="3000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®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nd Sharpen</a:t>
            </a:r>
            <a:endParaRPr kumimoji="0" lang="en-US" sz="2400" b="1" i="0" u="none" strike="noStrike" kern="1200" cap="none" spc="0" normalizeH="0" baseline="30000" noProof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uLnTx/>
              <a:uFillTx/>
              <a:latin typeface="Arial"/>
              <a:ea typeface="+mj-ea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10B8464-49AE-C397-7E5D-28CE153B1CCB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A57D66-C95C-BCF5-7AB1-383423B18F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27490" y="1714895"/>
            <a:ext cx="7081838" cy="445067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>
                <a:latin typeface="Arial"/>
                <a:cs typeface="Arial"/>
              </a:rPr>
              <a:t>Sharpen Companion Purchase Flow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b="1">
                <a:solidFill>
                  <a:srgbClr val="333333"/>
                </a:solidFill>
                <a:latin typeface="Arial"/>
                <a:cs typeface="Arial"/>
              </a:rPr>
              <a:t>GO: IA Integrated with a Learning Management System (LMS)</a:t>
            </a:r>
            <a:endParaRPr lang="en-US" sz="2000" b="1">
              <a:solidFill>
                <a:srgbClr val="333333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 b="1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/>
          </a:p>
        </p:txBody>
      </p:sp>
      <p:pic>
        <p:nvPicPr>
          <p:cNvPr id="18" name="Picture 17" descr="Sharpen on a computer and mobile phone.">
            <a:extLst>
              <a:ext uri="{FF2B5EF4-FFF2-40B4-BE49-F238E27FC236}">
                <a16:creationId xmlns:a16="http://schemas.microsoft.com/office/drawing/2014/main" id="{789516DD-9EA6-7723-D2A1-1EA51E3201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02041" y="2958729"/>
            <a:ext cx="2562641" cy="1959862"/>
          </a:xfrm>
          <a:prstGeom prst="rect">
            <a:avLst/>
          </a:prstGeom>
        </p:spPr>
      </p:pic>
      <p:grpSp>
        <p:nvGrpSpPr>
          <p:cNvPr id="16" name="Group 15" descr="GO on a computer screen.">
            <a:extLst>
              <a:ext uri="{FF2B5EF4-FFF2-40B4-BE49-F238E27FC236}">
                <a16:creationId xmlns:a16="http://schemas.microsoft.com/office/drawing/2014/main" id="{515869D5-0127-9B46-1696-FA5BA5DD02DB}"/>
              </a:ext>
            </a:extLst>
          </p:cNvPr>
          <p:cNvGrpSpPr/>
          <p:nvPr/>
        </p:nvGrpSpPr>
        <p:grpSpPr>
          <a:xfrm>
            <a:off x="7937330" y="4767193"/>
            <a:ext cx="2163756" cy="1870873"/>
            <a:chOff x="2661057" y="4201464"/>
            <a:chExt cx="2937302" cy="240196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FDA9513-330B-521C-2313-6AD42A0CACBC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4" name="Picture 13" descr="Course with McGraw Hill Connect ...">
                <a:extLst>
                  <a:ext uri="{FF2B5EF4-FFF2-40B4-BE49-F238E27FC236}">
                    <a16:creationId xmlns:a16="http://schemas.microsoft.com/office/drawing/2014/main" id="{403AD63A-4C0A-9B57-AF84-D73B7B22D2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5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43701E6A-6B79-C20B-437A-03A05CDBC01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3" name="Picture 12" descr="McGraw Hill GO">
              <a:extLst>
                <a:ext uri="{FF2B5EF4-FFF2-40B4-BE49-F238E27FC236}">
                  <a16:creationId xmlns:a16="http://schemas.microsoft.com/office/drawing/2014/main" id="{977DF234-57AB-427F-DD5C-3A8D77ED0F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2F54C2D5-B8ED-AD46-B73E-0BEFDC113D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0242" t="15990" b="239"/>
          <a:stretch/>
        </p:blipFill>
        <p:spPr>
          <a:xfrm>
            <a:off x="3884263" y="3036615"/>
            <a:ext cx="4832785" cy="3812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704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"/>
                <a:cs typeface="Arial"/>
              </a:rPr>
              <a:t>Accessing McGraw Hill GO:</a:t>
            </a:r>
            <a:br>
              <a:rPr lang="en-US" dirty="0">
                <a:latin typeface="Arial"/>
                <a:cs typeface="Arial"/>
              </a:rPr>
            </a:br>
            <a:br>
              <a:rPr lang="en-US" dirty="0">
                <a:latin typeface="Arial"/>
                <a:cs typeface="Arial"/>
              </a:rPr>
            </a:br>
            <a:r>
              <a:rPr lang="en-US" dirty="0"/>
              <a:t>D2L Brightspace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4407B9-C4FE-A26A-3361-0E8BFA6B376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77F7F22-620F-D413-39D6-32D26963AC64}"/>
              </a:ext>
            </a:extLst>
          </p:cNvPr>
          <p:cNvSpPr txBox="1"/>
          <p:nvPr/>
        </p:nvSpPr>
        <p:spPr>
          <a:xfrm>
            <a:off x="4491902" y="2138795"/>
            <a:ext cx="49854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cs typeface="Calibri"/>
              </a:rPr>
              <a:t>To access McGraw Hill GO, select a GO assignment in the Content area of your D2L </a:t>
            </a:r>
            <a:r>
              <a:rPr lang="en-US" dirty="0"/>
              <a:t>Brightspace</a:t>
            </a:r>
            <a:r>
              <a:rPr lang="en-US" dirty="0">
                <a:cs typeface="Calibri"/>
              </a:rPr>
              <a:t> course.</a:t>
            </a:r>
            <a:endParaRPr lang="en-US" dirty="0"/>
          </a:p>
        </p:txBody>
      </p:sp>
      <p:pic>
        <p:nvPicPr>
          <p:cNvPr id="5" name="Picture 7" descr="Screenshot of Assignment in D2L platform. Yellow rectangle highlights the assignment.">
            <a:extLst>
              <a:ext uri="{FF2B5EF4-FFF2-40B4-BE49-F238E27FC236}">
                <a16:creationId xmlns:a16="http://schemas.microsoft.com/office/drawing/2014/main" id="{89755349-1DF1-853F-0154-04D452B098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0491" y="2871641"/>
            <a:ext cx="6276109" cy="366049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F6A38D4-6369-EC06-F064-DA339F582C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0637" y="5084040"/>
            <a:ext cx="2259773" cy="523008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33666303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71391D-E201-BA3C-3345-95AE0DBC1E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65C88F3-1965-F346-9280-E8054823A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GO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Sharpe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515A62B-C6E1-B89F-441E-8073EAD973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B2B50E-1FF2-7163-E66F-4284DEDDD39A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2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A73DE0-A8C0-3BAF-9900-1831AF814678}"/>
              </a:ext>
            </a:extLst>
          </p:cNvPr>
          <p:cNvSpPr txBox="1"/>
          <p:nvPr/>
        </p:nvSpPr>
        <p:spPr>
          <a:xfrm>
            <a:off x="4639106" y="2231159"/>
            <a:ext cx="454097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Clicking on a GO assignment launches the Course Access Page. On this page, click </a:t>
            </a:r>
            <a:r>
              <a:rPr lang="en-US" b="1">
                <a:cs typeface="Calibri"/>
              </a:rPr>
              <a:t>Begin</a:t>
            </a:r>
            <a:r>
              <a:rPr lang="en-US">
                <a:cs typeface="Calibri"/>
              </a:rPr>
              <a:t>. 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6" name="Picture 5" descr="GO registration launch point screenshot.">
            <a:extLst>
              <a:ext uri="{FF2B5EF4-FFF2-40B4-BE49-F238E27FC236}">
                <a16:creationId xmlns:a16="http://schemas.microsoft.com/office/drawing/2014/main" id="{D42719DA-CB14-B2F1-2CD1-152C78E8DC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429" y="2858324"/>
            <a:ext cx="5569858" cy="13879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6A8D537-0422-1948-1A88-5CE3A1124B82}"/>
              </a:ext>
            </a:extLst>
          </p:cNvPr>
          <p:cNvSpPr txBox="1"/>
          <p:nvPr/>
        </p:nvSpPr>
        <p:spPr>
          <a:xfrm>
            <a:off x="5966834" y="4343979"/>
            <a:ext cx="514133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If your assignment launches in a new tab but your browser does not open it, click </a:t>
            </a:r>
            <a:r>
              <a:rPr lang="en-US" b="1">
                <a:cs typeface="Calibri"/>
              </a:rPr>
              <a:t>Launch Assignment</a:t>
            </a:r>
            <a:r>
              <a:rPr lang="en-US">
                <a:cs typeface="Calibri"/>
              </a:rPr>
              <a:t>. </a:t>
            </a:r>
            <a:endParaRPr lang="en-US">
              <a:ea typeface="Calibri"/>
              <a:cs typeface="Calibri"/>
            </a:endParaRPr>
          </a:p>
        </p:txBody>
      </p:sp>
      <p:pic>
        <p:nvPicPr>
          <p:cNvPr id="7" name="Picture 6" descr="GO registration launch point screenshot.">
            <a:extLst>
              <a:ext uri="{FF2B5EF4-FFF2-40B4-BE49-F238E27FC236}">
                <a16:creationId xmlns:a16="http://schemas.microsoft.com/office/drawing/2014/main" id="{43731934-FDE5-C168-3298-69AAFD7F2F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53546" y="5006666"/>
            <a:ext cx="5391728" cy="140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7503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9354D9-0DCE-DC74-DF5F-904D6D7F3E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A896C-E43F-0E80-2A13-61EFC6A7B1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6AAE8-7644-5D74-44D0-1A9624E9EB5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59C3E4-969E-A24F-06F6-3BA6BC1D8AB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/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We recommend using your school email address when creating an account. </a:t>
            </a: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latin typeface="Arial"/>
                <a:cs typeface="Arial"/>
              </a:rPr>
              <a:t>Continue</a:t>
            </a:r>
            <a:r>
              <a:rPr lang="en-US" sz="1800"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of GO registration screen.">
            <a:extLst>
              <a:ext uri="{FF2B5EF4-FFF2-40B4-BE49-F238E27FC236}">
                <a16:creationId xmlns:a16="http://schemas.microsoft.com/office/drawing/2014/main" id="{C413E688-116B-2F76-E2FE-F89619D79B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9399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6466A-E173-0F87-2BF7-D6D218DBCE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D63932-B3B5-75F2-118A-669E0FF67A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F28F5FF-ED4A-A433-A406-EDF715B62BC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9791DF5-9D0F-870A-9AB7-A876969745C4}"/>
              </a:ext>
            </a:extLst>
          </p:cNvPr>
          <p:cNvSpPr txBox="1">
            <a:spLocks/>
          </p:cNvSpPr>
          <p:nvPr/>
        </p:nvSpPr>
        <p:spPr>
          <a:xfrm>
            <a:off x="7648678" y="1718796"/>
            <a:ext cx="4210245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FF0EC55-CC1F-8413-11CD-851AC84FE4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9843" y="1939336"/>
            <a:ext cx="3694546" cy="17263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719F3D-2BC6-2314-7857-A47AA51B3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814779" y="2626936"/>
            <a:ext cx="2020207" cy="215444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b="1">
                <a:ea typeface="Calibri"/>
                <a:cs typeface="Calibri"/>
              </a:rPr>
              <a:t>Mader, Biology, 14e: Connect with Sharp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3D67ADF-8CBB-C45F-ADA6-36F1B1B56B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95205" y="1860838"/>
            <a:ext cx="4194589" cy="187704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816E811-25B5-168D-8775-C7A5A6B6BB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357417" y="1799344"/>
            <a:ext cx="1590348" cy="353780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Arial"/>
                <a:cs typeface="Arial"/>
              </a:rPr>
              <a:t>IA confirmation page</a:t>
            </a:r>
            <a:endParaRPr lang="en-US"/>
          </a:p>
        </p:txBody>
      </p:sp>
      <p:grpSp>
        <p:nvGrpSpPr>
          <p:cNvPr id="18" name="Group 17" descr="Registration screen">
            <a:extLst>
              <a:ext uri="{FF2B5EF4-FFF2-40B4-BE49-F238E27FC236}">
                <a16:creationId xmlns:a16="http://schemas.microsoft.com/office/drawing/2014/main" id="{8DB68F24-D454-A20C-7FB9-17C3CD73A902}"/>
              </a:ext>
            </a:extLst>
          </p:cNvPr>
          <p:cNvGrpSpPr/>
          <p:nvPr/>
        </p:nvGrpSpPr>
        <p:grpSpPr>
          <a:xfrm>
            <a:off x="718282" y="1667967"/>
            <a:ext cx="4867967" cy="2128206"/>
            <a:chOff x="71735" y="1679513"/>
            <a:chExt cx="7257876" cy="3132659"/>
          </a:xfrm>
        </p:grpSpPr>
        <p:pic>
          <p:nvPicPr>
            <p:cNvPr id="17" name="Picture 16" descr="Screenshot highlighting the Complete Registration button users must click on to join the course.">
              <a:extLst>
                <a:ext uri="{FF2B5EF4-FFF2-40B4-BE49-F238E27FC236}">
                  <a16:creationId xmlns:a16="http://schemas.microsoft.com/office/drawing/2014/main" id="{53A73BE1-CA35-EE81-614F-B5E85F70BF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7414" y="1679513"/>
              <a:ext cx="7232197" cy="3123747"/>
            </a:xfrm>
            <a:prstGeom prst="rect">
              <a:avLst/>
            </a:prstGeom>
          </p:spPr>
        </p:pic>
        <p:pic>
          <p:nvPicPr>
            <p:cNvPr id="16" name="Picture 15" descr="A screen shot of a course information&#10;&#10;AI-generated content may be incorrect.">
              <a:extLst>
                <a:ext uri="{FF2B5EF4-FFF2-40B4-BE49-F238E27FC236}">
                  <a16:creationId xmlns:a16="http://schemas.microsoft.com/office/drawing/2014/main" id="{5C0093C3-310D-24DB-47C5-770DF18D49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rcRect l="-276" t="26862" r="54146" b="1082"/>
            <a:stretch/>
          </p:blipFill>
          <p:spPr>
            <a:xfrm>
              <a:off x="71735" y="2660974"/>
              <a:ext cx="3154628" cy="2151198"/>
            </a:xfrm>
            <a:prstGeom prst="rect">
              <a:avLst/>
            </a:prstGeom>
          </p:spPr>
        </p:pic>
      </p:grp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718BB77-C605-3B8F-4A95-97F4667C28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75201" y="2498259"/>
            <a:ext cx="1744889" cy="54197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22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0D19D7DE-21D6-2DD0-E0E7-61D200A59E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40760" y="4270293"/>
            <a:ext cx="4497780" cy="214720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46FD3D9-DF87-4ABB-1EA1-322E2EB83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27894" y="4269535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5761596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3053C7-4288-F227-1F5A-6396310ED9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A55F64-CB41-CCCB-C2DD-F291C1E52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12465D0-593D-DE3E-1AB8-51E323DCD14B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baseline="30000">
                <a:latin typeface="Arial"/>
                <a:cs typeface="Arial"/>
              </a:rPr>
              <a:t>®</a:t>
            </a:r>
            <a:r>
              <a:rPr lang="en-US"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82E217B-A963-9A05-D98F-E91CECEF8C5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01373" y="4090759"/>
            <a:ext cx="3572059" cy="67862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to Know on Your</a:t>
            </a:r>
            <a:b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EB5167-81B5-BB33-AF53-0610093367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27490" y="1714895"/>
            <a:ext cx="7081838" cy="445067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2400" b="1">
                <a:latin typeface="Arial"/>
                <a:cs typeface="Arial"/>
              </a:rPr>
              <a:t>Sharpen Companion Log-In Flow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2000" b="1">
                <a:solidFill>
                  <a:srgbClr val="333333"/>
                </a:solidFill>
                <a:latin typeface="Arial"/>
                <a:cs typeface="Arial"/>
              </a:rPr>
              <a:t>GO: IA and non-IA</a:t>
            </a:r>
            <a:endParaRPr lang="en-US" sz="2000" b="1">
              <a:solidFill>
                <a:srgbClr val="333333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 b="1">
              <a:latin typeface="Arial"/>
              <a:cs typeface="Arial"/>
            </a:endParaRPr>
          </a:p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endParaRPr lang="en-US" sz="1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562F61E-8815-DAF9-A67A-293E3DA5E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3604" b="239"/>
          <a:stretch/>
        </p:blipFill>
        <p:spPr>
          <a:xfrm>
            <a:off x="3884263" y="2927758"/>
            <a:ext cx="4832785" cy="3920799"/>
          </a:xfrm>
          <a:prstGeom prst="rect">
            <a:avLst/>
          </a:prstGeom>
        </p:spPr>
      </p:pic>
      <p:pic>
        <p:nvPicPr>
          <p:cNvPr id="18" name="Picture 17" descr="Sharpen on a computer screen and a mobile phone.">
            <a:extLst>
              <a:ext uri="{FF2B5EF4-FFF2-40B4-BE49-F238E27FC236}">
                <a16:creationId xmlns:a16="http://schemas.microsoft.com/office/drawing/2014/main" id="{C13FE3B2-DAEA-92A9-D36E-8C851A6C25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5131" y="2393001"/>
            <a:ext cx="2585732" cy="2075316"/>
          </a:xfrm>
          <a:prstGeom prst="rect">
            <a:avLst/>
          </a:prstGeom>
        </p:spPr>
      </p:pic>
      <p:grpSp>
        <p:nvGrpSpPr>
          <p:cNvPr id="14" name="Group 13" descr="GO on a computer screen.">
            <a:extLst>
              <a:ext uri="{FF2B5EF4-FFF2-40B4-BE49-F238E27FC236}">
                <a16:creationId xmlns:a16="http://schemas.microsoft.com/office/drawing/2014/main" id="{5DE9C0D9-0E68-5B32-F745-DA78DB67CCBF}"/>
              </a:ext>
            </a:extLst>
          </p:cNvPr>
          <p:cNvGrpSpPr/>
          <p:nvPr/>
        </p:nvGrpSpPr>
        <p:grpSpPr>
          <a:xfrm>
            <a:off x="8122056" y="4559377"/>
            <a:ext cx="2394665" cy="2067145"/>
            <a:chOff x="2661057" y="4201464"/>
            <a:chExt cx="2937302" cy="240196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4303D7C-4750-8422-E0FE-54220FC145D4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1" name="Picture 10" descr="Course with McGraw Hill Connect ...">
                <a:extLst>
                  <a:ext uri="{FF2B5EF4-FFF2-40B4-BE49-F238E27FC236}">
                    <a16:creationId xmlns:a16="http://schemas.microsoft.com/office/drawing/2014/main" id="{3F5CC51C-E329-FA07-8F1F-4B25FB0D6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3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7E63BADF-2609-8745-5C82-66C6D8BC582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" name="Picture 8" descr="McGraw Hill GO">
              <a:extLst>
                <a:ext uri="{FF2B5EF4-FFF2-40B4-BE49-F238E27FC236}">
                  <a16:creationId xmlns:a16="http://schemas.microsoft.com/office/drawing/2014/main" id="{F4F08BEB-7411-BE84-830B-AF30482E69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84948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0AF2A2-051E-731E-0D20-B3FFE85A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E6494A-2E0E-F69E-7F5F-8FD2753D89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GO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E00592-1C2A-A58A-E061-E1412DDD818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3771151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Logging into Sharpen: Registered Student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3E3DEB1-3400-637A-3285-0216CA8754DD}"/>
              </a:ext>
            </a:extLst>
          </p:cNvPr>
          <p:cNvSpPr txBox="1"/>
          <p:nvPr/>
        </p:nvSpPr>
        <p:spPr>
          <a:xfrm>
            <a:off x="6968031" y="1791980"/>
            <a:ext cx="3942773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113FF0A-86FB-D04E-2B51-6932F4EFA857}"/>
              </a:ext>
            </a:extLst>
          </p:cNvPr>
          <p:cNvSpPr txBox="1">
            <a:spLocks/>
          </p:cNvSpPr>
          <p:nvPr/>
        </p:nvSpPr>
        <p:spPr>
          <a:xfrm>
            <a:off x="6967497" y="2348023"/>
            <a:ext cx="4752881" cy="364784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latin typeface="Arial"/>
                <a:cs typeface="Arial"/>
              </a:rPr>
              <a:t>Sharpen Launch point</a:t>
            </a:r>
            <a:r>
              <a:rPr lang="en-US" sz="1800">
                <a:latin typeface="Arial"/>
                <a:cs typeface="Arial"/>
              </a:rPr>
              <a:t>: Once you have registered for Sharpen, you will always see the Sharpen launch point at the top of the GO reading screen. Click this to launch Sharpen in a new web window. </a:t>
            </a:r>
            <a:endParaRPr lang="en-US"/>
          </a:p>
          <a:p>
            <a:pPr marL="0" indent="0">
              <a:buNone/>
            </a:pPr>
            <a:endParaRPr lang="en-US"/>
          </a:p>
        </p:txBody>
      </p:sp>
      <p:pic>
        <p:nvPicPr>
          <p:cNvPr id="2" name="Picture 1" descr="Screenshot of GO assignment with Sharpen launch point highlighted. Yellow rectangle highlights the launch point.">
            <a:extLst>
              <a:ext uri="{FF2B5EF4-FFF2-40B4-BE49-F238E27FC236}">
                <a16:creationId xmlns:a16="http://schemas.microsoft.com/office/drawing/2014/main" id="{14594AFD-285D-C7E3-E71B-B5ECF3F74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030" y="1015999"/>
            <a:ext cx="2909583" cy="29754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2B7568-22EE-B0CD-2DB6-C5C3FAC922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05132" y="1052202"/>
            <a:ext cx="764639" cy="19313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5" name="Picture 14" descr="Sharpen web app that opens after students open Sharpen from GO.">
            <a:extLst>
              <a:ext uri="{FF2B5EF4-FFF2-40B4-BE49-F238E27FC236}">
                <a16:creationId xmlns:a16="http://schemas.microsoft.com/office/drawing/2014/main" id="{DDDEBEC6-0162-C0BC-40CA-C8EB80A1BD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857" y="4862678"/>
            <a:ext cx="6966856" cy="1704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7976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 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GO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grpSp>
        <p:nvGrpSpPr>
          <p:cNvPr id="20" name="Group 19" descr="GO product on a computer screen.">
            <a:extLst>
              <a:ext uri="{FF2B5EF4-FFF2-40B4-BE49-F238E27FC236}">
                <a16:creationId xmlns:a16="http://schemas.microsoft.com/office/drawing/2014/main" id="{A77C16B1-670C-3BBD-F1A4-E29A6112C429}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3">
            <a:extLst>
              <a:ext uri="{FF2B5EF4-FFF2-40B4-BE49-F238E27FC236}">
                <a16:creationId xmlns:a16="http://schemas.microsoft.com/office/drawing/2014/main" id="{478F6DCE-DF72-5F0A-0F94-2CF017928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GO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55432091-86BF-0D6D-1795-15930B74F30B}"/>
              </a:ext>
            </a:extLst>
          </p:cNvPr>
          <p:cNvSpPr txBox="1">
            <a:spLocks/>
          </p:cNvSpPr>
          <p:nvPr/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udent Registration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6DEE01A0-A94F-887A-285B-74955E4FCCD3}"/>
              </a:ext>
            </a:extLst>
          </p:cNvPr>
          <p:cNvSpPr txBox="1">
            <a:spLocks/>
          </p:cNvSpPr>
          <p:nvPr/>
        </p:nvSpPr>
        <p:spPr>
          <a:xfrm>
            <a:off x="1208087" y="4122407"/>
            <a:ext cx="4887913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or D2L Brightspace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27321662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73A9DF-2010-0D1C-0779-F4DBC4C7C7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8">
            <a:extLst>
              <a:ext uri="{FF2B5EF4-FFF2-40B4-BE49-F238E27FC236}">
                <a16:creationId xmlns:a16="http://schemas.microsoft.com/office/drawing/2014/main" id="{194A9891-A9FE-D631-C933-1462985B967C}"/>
              </a:ext>
            </a:extLst>
          </p:cNvPr>
          <p:cNvSpPr txBox="1"/>
          <p:nvPr/>
        </p:nvSpPr>
        <p:spPr>
          <a:xfrm>
            <a:off x="7340363" y="5316582"/>
            <a:ext cx="3169283" cy="138499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pPr algn="l" fontAlgn="auto">
              <a:buNone/>
            </a:pPr>
            <a:r>
              <a:rPr lang="en-US" sz="1400" b="0" i="0">
                <a:solidFill>
                  <a:schemeClr val="bg2">
                    <a:lumMod val="10000"/>
                  </a:schemeClr>
                </a:solidFill>
                <a:effectLst/>
                <a:latin typeface="Proxima Nova" panose="02000506030000020004" pitchFamily="50" charset="0"/>
              </a:rPr>
              <a:t>College study app for exam prep that goes with our textbook and McGraw Hill GO, offering flashcards, quizzes, videos, and tools to stay on track.</a:t>
            </a:r>
          </a:p>
          <a:p>
            <a:pPr>
              <a:buNone/>
            </a:pPr>
            <a:br>
              <a:rPr lang="en-US" sz="140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</a:br>
            <a:endParaRPr lang="en-US" sz="1400">
              <a:solidFill>
                <a:schemeClr val="bg2">
                  <a:lumMod val="1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7" name="Picture 16" descr="Sharpen logo. &#10;">
            <a:extLst>
              <a:ext uri="{FF2B5EF4-FFF2-40B4-BE49-F238E27FC236}">
                <a16:creationId xmlns:a16="http://schemas.microsoft.com/office/drawing/2014/main" id="{737A586C-FC86-0355-2DD4-98C64393719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0363" y="4904713"/>
            <a:ext cx="1397609" cy="350595"/>
          </a:xfrm>
          <a:prstGeom prst="rect">
            <a:avLst/>
          </a:prstGeom>
        </p:spPr>
      </p:pic>
      <p:sp>
        <p:nvSpPr>
          <p:cNvPr id="15" name="TextBox 5">
            <a:extLst>
              <a:ext uri="{FF2B5EF4-FFF2-40B4-BE49-F238E27FC236}">
                <a16:creationId xmlns:a16="http://schemas.microsoft.com/office/drawing/2014/main" id="{F65D68D0-633F-478B-E06C-655ED68CC04C}"/>
              </a:ext>
            </a:extLst>
          </p:cNvPr>
          <p:cNvSpPr txBox="1"/>
          <p:nvPr/>
        </p:nvSpPr>
        <p:spPr>
          <a:xfrm>
            <a:off x="7966741" y="2505670"/>
            <a:ext cx="2288703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Quiz While You Read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Check your understanding and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flip from readings to assessments to gauge your grasp of the concepts covered.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6" name="Graphic 6" descr="Checklist outline">
            <a:extLst>
              <a:ext uri="{FF2B5EF4-FFF2-40B4-BE49-F238E27FC236}">
                <a16:creationId xmlns:a16="http://schemas.microsoft.com/office/drawing/2014/main" id="{2901980D-679C-C57F-7579-C2940BAA2C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769" y="2476609"/>
            <a:ext cx="914400" cy="914400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65E36ACA-E51D-FC04-26EC-403B27C19247}"/>
              </a:ext>
            </a:extLst>
          </p:cNvPr>
          <p:cNvSpPr txBox="1"/>
          <p:nvPr/>
        </p:nvSpPr>
        <p:spPr>
          <a:xfrm>
            <a:off x="4083905" y="4942164"/>
            <a:ext cx="2568966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CA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On-the-GO Access</a:t>
            </a:r>
          </a:p>
          <a:p>
            <a:endParaRPr lang="en-CA" sz="800" b="1">
              <a:solidFill>
                <a:schemeClr val="tx1">
                  <a:lumMod val="50000"/>
                </a:schemeClr>
              </a:solidFill>
              <a:effectLst/>
              <a:latin typeface="Proxima Nova" panose="02000506030000020004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Access your McGraw Hill GO eBook on mobile devices through the free </a:t>
            </a:r>
            <a:r>
              <a:rPr lang="en-CA" sz="1400" b="1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ReadAnywhere app </a:t>
            </a:r>
            <a:r>
              <a:rPr lang="en-CA" sz="1400">
                <a:solidFill>
                  <a:schemeClr val="tx1">
                    <a:lumMod val="50000"/>
                  </a:schemeClr>
                </a:solidFill>
                <a:effectLst/>
                <a:latin typeface="Proxima Nova" panose="02000506030000020004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(must activate GO first). </a:t>
            </a:r>
            <a:endParaRPr lang="en-US" sz="140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13" name="Picture 12" descr="A logo of a computer">
            <a:extLst>
              <a:ext uri="{FF2B5EF4-FFF2-40B4-BE49-F238E27FC236}">
                <a16:creationId xmlns:a16="http://schemas.microsoft.com/office/drawing/2014/main" id="{A4E0CF43-3E92-C35B-AE46-492387AA19E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91415" y="4942164"/>
            <a:ext cx="645644" cy="622381"/>
          </a:xfrm>
          <a:prstGeom prst="rect">
            <a:avLst/>
          </a:prstGeom>
        </p:spPr>
      </p:pic>
      <p:sp>
        <p:nvSpPr>
          <p:cNvPr id="11" name="TextBox 1">
            <a:extLst>
              <a:ext uri="{FF2B5EF4-FFF2-40B4-BE49-F238E27FC236}">
                <a16:creationId xmlns:a16="http://schemas.microsoft.com/office/drawing/2014/main" id="{4A031514-1A38-CFAD-B514-B965E7D0F3C9}"/>
              </a:ext>
            </a:extLst>
          </p:cNvPr>
          <p:cNvSpPr txBox="1"/>
          <p:nvPr/>
        </p:nvSpPr>
        <p:spPr>
          <a:xfrm>
            <a:off x="4083905" y="2505671"/>
            <a:ext cx="2568966" cy="184665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en-US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ctively Read </a:t>
            </a:r>
            <a:r>
              <a:rPr lang="en-US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using the </a:t>
            </a:r>
            <a:r>
              <a:rPr lang="en-US" b="1" u="sng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AI Reader</a:t>
            </a:r>
          </a:p>
          <a:p>
            <a:endParaRPr lang="en-US" sz="800" b="1" u="sng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  <a:p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Leverage the power of our </a:t>
            </a:r>
            <a:r>
              <a:rPr lang="en-US" sz="1400" b="1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gen AI tool embedded in the ebook </a:t>
            </a:r>
            <a:r>
              <a:rPr lang="en-US" sz="140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</a:rPr>
              <a:t>to expand your understanding and boost your curiosity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02284E-5D84-387E-BD99-B5D36B5600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268" t="7406" r="11943" b="6060"/>
          <a:stretch/>
        </p:blipFill>
        <p:spPr>
          <a:xfrm>
            <a:off x="3319238" y="2574035"/>
            <a:ext cx="617821" cy="5976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glow rad="101600">
              <a:schemeClr val="accent5">
                <a:satMod val="175000"/>
                <a:alpha val="40000"/>
              </a:schemeClr>
            </a:glow>
            <a:reflection blurRad="12700" stA="38000" endPos="28000" dist="5000" dir="5400000" sy="-100000" algn="bl" rotWithShape="0"/>
          </a:effectLst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13E2C1-047A-07ED-3079-56F16BD7A0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34573" y="1726816"/>
            <a:ext cx="8277164" cy="827655"/>
          </a:xfrm>
        </p:spPr>
        <p:txBody>
          <a:bodyPr/>
          <a:lstStyle/>
          <a:p>
            <a:r>
              <a:rPr lang="en-US" b="1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McGraw Hill GO is an eBook+ </a:t>
            </a:r>
            <a:r>
              <a:rPr lang="en-US" dirty="0">
                <a:solidFill>
                  <a:schemeClr val="bg2">
                    <a:lumMod val="10000"/>
                  </a:schemeClr>
                </a:solidFill>
                <a:latin typeface="Proxima Nova" panose="02000506030000020004" pitchFamily="50" charset="0"/>
              </a:rPr>
              <a:t>embedded directly in your LMS course – no additional logins or access required</a:t>
            </a: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BBFBC29-1E2D-D7C9-3965-780E6414B3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573" y="1084310"/>
            <a:ext cx="5422996" cy="748230"/>
          </a:xfrm>
        </p:spPr>
        <p:txBody>
          <a:bodyPr/>
          <a:lstStyle/>
          <a:p>
            <a:r>
              <a:rPr lang="en-US" dirty="0"/>
              <a:t>What is McGraw Hill GO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B4C75BC-FC16-E2DC-FCF1-780F75E9F88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7" y="190253"/>
            <a:ext cx="4906113" cy="365125"/>
          </a:xfrm>
        </p:spPr>
        <p:txBody>
          <a:bodyPr/>
          <a:lstStyle/>
          <a:p>
            <a:r>
              <a:rPr lang="en-US" dirty="0"/>
              <a:t>D2L Brightspace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313755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5013278" cy="331932"/>
          </a:xfrm>
        </p:spPr>
        <p:txBody>
          <a:bodyPr/>
          <a:lstStyle/>
          <a:p>
            <a:r>
              <a:rPr lang="en-US" dirty="0"/>
              <a:t>D2L Brightspace with Inclusive Access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50000"/>
                  </a:schemeClr>
                </a:solidFill>
                <a:latin typeface="Proxima Nova" panose="02000506030000020004" pitchFamily="50" charset="0"/>
                <a:cs typeface="Calibri"/>
              </a:rPr>
              <a:t>To access McGraw Hill GO, select a GO assignment in the Content area of your Blackboard course.</a:t>
            </a:r>
            <a:endParaRPr lang="en-US" dirty="0">
              <a:solidFill>
                <a:schemeClr val="tx1">
                  <a:lumMod val="50000"/>
                </a:schemeClr>
              </a:solidFill>
              <a:latin typeface="Proxima Nova" panose="02000506030000020004" pitchFamily="50" charset="0"/>
            </a:endParaRPr>
          </a:p>
        </p:txBody>
      </p:sp>
      <p:pic>
        <p:nvPicPr>
          <p:cNvPr id="8" name="Picture 7" descr="A screenshot of a computer">
            <a:extLst>
              <a:ext uri="{FF2B5EF4-FFF2-40B4-BE49-F238E27FC236}">
                <a16:creationId xmlns:a16="http://schemas.microsoft.com/office/drawing/2014/main" id="{AB990949-B5D3-8F28-DC71-928AD3936C2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6287" t="35558"/>
          <a:stretch/>
        </p:blipFill>
        <p:spPr>
          <a:xfrm>
            <a:off x="5666496" y="3428999"/>
            <a:ext cx="4626312" cy="2358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DF7C4-1F6B-4888-0BC4-462CFB495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5241050" cy="331932"/>
          </a:xfrm>
        </p:spPr>
        <p:txBody>
          <a:bodyPr/>
          <a:lstStyle/>
          <a:p>
            <a:r>
              <a:rPr lang="en-US" dirty="0"/>
              <a:t>D2L Brightspace with Inclusive Access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1" y="1780549"/>
            <a:ext cx="10609105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dirty="0">
                <a:latin typeface="Proxima Nova" panose="02000506030000020004" pitchFamily="50" charset="0"/>
                <a:cs typeface="Arial"/>
              </a:rPr>
              <a:t>Select Complete Registration and then you can access your first McGraw Hill GO assignment!</a:t>
            </a:r>
            <a:endParaRPr lang="en-US" dirty="0">
              <a:latin typeface="Proxima Nova" panose="02000506030000020004" pitchFamily="50" charset="0"/>
            </a:endParaRPr>
          </a:p>
        </p:txBody>
      </p:sp>
      <p:pic>
        <p:nvPicPr>
          <p:cNvPr id="4" name="Picture 6" descr="A close-up of a course information">
            <a:extLst>
              <a:ext uri="{FF2B5EF4-FFF2-40B4-BE49-F238E27FC236}">
                <a16:creationId xmlns:a16="http://schemas.microsoft.com/office/drawing/2014/main" id="{1841F5AC-D1DF-0A22-4553-CC8EEF5701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5906" y="2764201"/>
            <a:ext cx="5869131" cy="2406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>
            <a:norm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 GO</a:t>
            </a:r>
            <a:r>
              <a:rPr lang="en-US" sz="2100" baseline="30000">
                <a:latin typeface="Arial"/>
                <a:cs typeface="Arial"/>
              </a:rPr>
              <a:t>® </a:t>
            </a:r>
            <a:br>
              <a:rPr lang="en-US" sz="2100" baseline="30000">
                <a:latin typeface="Arial"/>
                <a:cs typeface="Arial"/>
              </a:rPr>
            </a:b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r>
              <a:rPr lang="en-US">
                <a:latin typeface="Arial"/>
                <a:cs typeface="Arial"/>
              </a:rPr>
              <a:t> </a:t>
            </a:r>
            <a:r>
              <a:rPr lang="en-US" baseline="30000">
                <a:latin typeface="Arial"/>
                <a:cs typeface="Arial"/>
              </a:rPr>
              <a:t>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674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729200-C3FB-09B6-A40C-FD5C04487E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EA8DB61-D5CC-B122-DEB6-DDFE19AFA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984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GO with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36FA738-FF10-8511-66C5-0167282DB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GO! By using both GO and Sharpen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study tools customized for your course so you can learn in just 5 minutes. The app delivers personalized  study tips based on your in-app performance, so you can see what you know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GO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FAF4BB5-C741-3C28-638E-3A715D44CF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  <p:pic>
        <p:nvPicPr>
          <p:cNvPr id="14" name="Picture 13" descr="Sharpen on a computer screen and mobile phone screen.">
            <a:extLst>
              <a:ext uri="{FF2B5EF4-FFF2-40B4-BE49-F238E27FC236}">
                <a16:creationId xmlns:a16="http://schemas.microsoft.com/office/drawing/2014/main" id="{89D2B2D2-C204-9A78-7D5B-E1B3BD72D0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54223" y="4829092"/>
            <a:ext cx="2562641" cy="195986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9A7BC40-62AA-C453-DD5C-16670191D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564152" y="5040163"/>
            <a:ext cx="1943966" cy="10945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3" name="Group 22" descr="GO on a computer screen.">
            <a:extLst>
              <a:ext uri="{FF2B5EF4-FFF2-40B4-BE49-F238E27FC236}">
                <a16:creationId xmlns:a16="http://schemas.microsoft.com/office/drawing/2014/main" id="{88353D54-AE87-30F1-3289-6964EE5BF2A9}"/>
              </a:ext>
            </a:extLst>
          </p:cNvPr>
          <p:cNvGrpSpPr/>
          <p:nvPr/>
        </p:nvGrpSpPr>
        <p:grpSpPr>
          <a:xfrm>
            <a:off x="3492330" y="4963463"/>
            <a:ext cx="2071393" cy="1697690"/>
            <a:chOff x="3492330" y="4963463"/>
            <a:chExt cx="2071393" cy="169769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18CEFCB-450D-B336-DE65-A065DDA0B61A}"/>
                </a:ext>
              </a:extLst>
            </p:cNvPr>
            <p:cNvGrpSpPr/>
            <p:nvPr/>
          </p:nvGrpSpPr>
          <p:grpSpPr>
            <a:xfrm>
              <a:off x="3492330" y="4963463"/>
              <a:ext cx="2071393" cy="1697690"/>
              <a:chOff x="-3150430" y="816996"/>
              <a:chExt cx="2937302" cy="2401962"/>
            </a:xfrm>
          </p:grpSpPr>
          <p:pic>
            <p:nvPicPr>
              <p:cNvPr id="16" name="Picture 15" descr="Course with McGraw Hill Connect ...">
                <a:extLst>
                  <a:ext uri="{FF2B5EF4-FFF2-40B4-BE49-F238E27FC236}">
                    <a16:creationId xmlns:a16="http://schemas.microsoft.com/office/drawing/2014/main" id="{B9692E7C-3171-CAFF-1C9A-259087E350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8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3EBDEE55-838E-2349-EAA8-6A71043D0C2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1" name="Picture 20" descr="McGraw Hill GO">
              <a:extLst>
                <a:ext uri="{FF2B5EF4-FFF2-40B4-BE49-F238E27FC236}">
                  <a16:creationId xmlns:a16="http://schemas.microsoft.com/office/drawing/2014/main" id="{985D99EC-0E64-6696-CA81-735E8D9A7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38757" y="5162364"/>
              <a:ext cx="1791443" cy="8446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22279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9F463E3-077C-3A58-C1E8-B041FE7F99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CBB8BF-CF40-008B-335C-E1C2C81DB5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5C6BFD1-A69A-34C7-327D-C7873BCED9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 </a:t>
            </a:r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the GO launch points. 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5C94D9E-FC4D-03A3-8DAE-A761D5DD9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2343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GO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9845"/>
            <a:ext cx="10750091" cy="365379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38468920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BF04106-DB51-4372-8CF6-311D04C68F33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307</TotalTime>
  <Words>914</Words>
  <Application>Microsoft Macintosh PowerPoint</Application>
  <PresentationFormat>Widescreen</PresentationFormat>
  <Paragraphs>121</Paragraphs>
  <Slides>18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40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Proxima Nova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Slides Available for the First Day of Class: Sharpen Companion, IA, D2L Brightspace</vt:lpstr>
      <vt:lpstr>McGraw Hill GO</vt:lpstr>
      <vt:lpstr>What is McGraw Hill GO?</vt:lpstr>
      <vt:lpstr>Step 1</vt:lpstr>
      <vt:lpstr>Step 2</vt:lpstr>
      <vt:lpstr>Getting Started with McGraw Hill GO®  and Sharpen  </vt:lpstr>
      <vt:lpstr>Students: What is GO with Sharpen?</vt:lpstr>
      <vt:lpstr>Students, here are some tips to ace your exams with Sharpen:</vt:lpstr>
      <vt:lpstr>Sharpen is the ultimate college study app for exam prep</vt:lpstr>
      <vt:lpstr>Download the Sharpen College Study App – Scan This Code​</vt:lpstr>
      <vt:lpstr>Getting Started with McGraw Hill GO® and Sharpen</vt:lpstr>
      <vt:lpstr>Accessing McGraw Hill GO:  D2L Brightspace</vt:lpstr>
      <vt:lpstr>Accessing McGraw Hill GO:  Sharpen</vt:lpstr>
      <vt:lpstr>Step 3: </vt:lpstr>
      <vt:lpstr>Step 4: </vt:lpstr>
      <vt:lpstr>What to Know on Your First Day of Class</vt:lpstr>
      <vt:lpstr>Logging into Sharpen: Registered Students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5</cp:revision>
  <dcterms:created xsi:type="dcterms:W3CDTF">2023-07-10T01:20:11Z</dcterms:created>
  <dcterms:modified xsi:type="dcterms:W3CDTF">2025-05-30T16:3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</Properties>
</file>